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slides/slide19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27.xml" ContentType="application/vnd.openxmlformats-officedocument.presentationml.tags+xml"/>
  <Override PartName="/ppt/notesSlides/notesSlide19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64" r:id="rId22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slide" Target="/ppt/slides/slide19.xml" Id="rId22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9.xml.rels>&#65279;<?xml version="1.0" encoding="utf-8"?><Relationships xmlns="http://schemas.openxmlformats.org/package/2006/relationships"><Relationship Type="http://schemas.openxmlformats.org/officeDocument/2006/relationships/slide" Target="/ppt/slides/slide19.xml" Id="rId2" /><Relationship Type="http://schemas.openxmlformats.org/officeDocument/2006/relationships/notesMaster" Target="/ppt/notesMasters/notesMaster1.xml" Id="rId1" /></Relationship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3456349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9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127.xml" Id="rId2" /><Relationship Type="http://schemas.openxmlformats.org/officeDocument/2006/relationships/vmlDrawing" Target="/ppt/drawings/vmlDrawing23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23.bin" Id="rId5" /><Relationship Type="http://schemas.openxmlformats.org/officeDocument/2006/relationships/notesSlide" Target="/ppt/notesSlides/notesSlide19.xml" Id="rId4" /></Relationships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347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Funnel III</a:t>
            </a:r>
          </a:p>
        </p:txBody>
      </p:sp>
      <p:grpSp>
        <p:nvGrpSpPr>
          <p:cNvPr id="2" name="Gruppieren 5">
            <a:extLst>
              <a:ext uri="{FF2B5EF4-FFF2-40B4-BE49-F238E27FC236}">
                <a16:creationId xmlns:a16="http://schemas.microsoft.com/office/drawing/2014/main" id="{52994B3F-4B77-4F63-BD78-91E25BF1A20E}"/>
              </a:ext>
            </a:extLst>
          </p:cNvPr>
          <p:cNvGrpSpPr>
            <a:grpSpLocks/>
          </p:cNvGrpSpPr>
          <p:nvPr/>
        </p:nvGrpSpPr>
        <p:grpSpPr>
          <a:xfrm>
            <a:off x="1843993" y="5033812"/>
            <a:ext cx="929996" cy="641432"/>
            <a:chOff x="2117981" y="5220462"/>
            <a:chExt cx="929996" cy="641432"/>
          </a:xfrm>
        </p:grpSpPr>
        <p:sp>
          <p:nvSpPr>
            <p:cNvPr id="3" name="Freihandform: Form 6">
              <a:extLst>
                <a:ext uri="{FF2B5EF4-FFF2-40B4-BE49-F238E27FC236}">
                  <a16:creationId xmlns:a16="http://schemas.microsoft.com/office/drawing/2014/main" id="{BEAEEE2F-8230-FAB6-F178-C9160AD4671B}"/>
                </a:ext>
              </a:extLst>
            </p:cNvPr>
            <p:cNvSpPr>
              <a:spLocks/>
            </p:cNvSpPr>
            <p:nvPr/>
          </p:nvSpPr>
          <p:spPr>
            <a:xfrm>
              <a:off x="2118726" y="5220462"/>
              <a:ext cx="929242" cy="43356"/>
            </a:xfrm>
            <a:custGeom>
              <a:avLst/>
              <a:gdLst>
                <a:gd name="connsiteX0" fmla="*/ 118396 w 118395"/>
                <a:gd name="connsiteY0" fmla="*/ 2762 h 5524"/>
                <a:gd name="connsiteX1" fmla="*/ 59150 w 118395"/>
                <a:gd name="connsiteY1" fmla="*/ 5525 h 5524"/>
                <a:gd name="connsiteX2" fmla="*/ 0 w 118395"/>
                <a:gd name="connsiteY2" fmla="*/ 2858 h 5524"/>
                <a:gd name="connsiteX3" fmla="*/ 0 w 118395"/>
                <a:gd name="connsiteY3" fmla="*/ 2858 h 5524"/>
                <a:gd name="connsiteX4" fmla="*/ 59150 w 118395"/>
                <a:gd name="connsiteY4" fmla="*/ 0 h 5524"/>
                <a:gd name="connsiteX5" fmla="*/ 118396 w 118395"/>
                <a:gd name="connsiteY5" fmla="*/ 2762 h 5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95" h="5524">
                  <a:moveTo>
                    <a:pt x="118396" y="2762"/>
                  </a:moveTo>
                  <a:cubicBezTo>
                    <a:pt x="118396" y="4286"/>
                    <a:pt x="91916" y="5525"/>
                    <a:pt x="59150" y="5525"/>
                  </a:cubicBezTo>
                  <a:cubicBezTo>
                    <a:pt x="26384" y="5525"/>
                    <a:pt x="2000" y="4382"/>
                    <a:pt x="0" y="2858"/>
                  </a:cubicBezTo>
                  <a:lnTo>
                    <a:pt x="0" y="2858"/>
                  </a:lnTo>
                  <a:cubicBezTo>
                    <a:pt x="2000" y="1143"/>
                    <a:pt x="27718" y="0"/>
                    <a:pt x="59150" y="0"/>
                  </a:cubicBezTo>
                  <a:cubicBezTo>
                    <a:pt x="90583" y="0"/>
                    <a:pt x="118396" y="1238"/>
                    <a:pt x="118396" y="2762"/>
                  </a:cubicBezTo>
                  <a:close/>
                </a:path>
              </a:pathLst>
            </a:custGeom>
            <a:solidFill>
              <a:schemeClr val="accent1">
                <a:alpha val="50196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4" name="Freihandform: Form 7">
              <a:extLst>
                <a:ext uri="{FF2B5EF4-FFF2-40B4-BE49-F238E27FC236}">
                  <a16:creationId xmlns:a16="http://schemas.microsoft.com/office/drawing/2014/main" id="{638B44A4-9527-9A5A-67CA-00D4F8DCA6C5}"/>
                </a:ext>
              </a:extLst>
            </p:cNvPr>
            <p:cNvSpPr>
              <a:spLocks/>
            </p:cNvSpPr>
            <p:nvPr/>
          </p:nvSpPr>
          <p:spPr>
            <a:xfrm>
              <a:off x="2117981" y="5242148"/>
              <a:ext cx="929996" cy="619746"/>
            </a:xfrm>
            <a:custGeom>
              <a:avLst/>
              <a:gdLst>
                <a:gd name="connsiteX0" fmla="*/ 118491 w 118491"/>
                <a:gd name="connsiteY0" fmla="*/ 0 h 78962"/>
                <a:gd name="connsiteX1" fmla="*/ 118491 w 118491"/>
                <a:gd name="connsiteY1" fmla="*/ 76200 h 78962"/>
                <a:gd name="connsiteX2" fmla="*/ 59246 w 118491"/>
                <a:gd name="connsiteY2" fmla="*/ 78962 h 78962"/>
                <a:gd name="connsiteX3" fmla="*/ 0 w 118491"/>
                <a:gd name="connsiteY3" fmla="*/ 76200 h 78962"/>
                <a:gd name="connsiteX4" fmla="*/ 95 w 118491"/>
                <a:gd name="connsiteY4" fmla="*/ 76200 h 78962"/>
                <a:gd name="connsiteX5" fmla="*/ 95 w 118491"/>
                <a:gd name="connsiteY5" fmla="*/ 95 h 78962"/>
                <a:gd name="connsiteX6" fmla="*/ 59246 w 118491"/>
                <a:gd name="connsiteY6" fmla="*/ 2762 h 78962"/>
                <a:gd name="connsiteX7" fmla="*/ 118491 w 118491"/>
                <a:gd name="connsiteY7" fmla="*/ 0 h 78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491" h="78962">
                  <a:moveTo>
                    <a:pt x="118491" y="0"/>
                  </a:moveTo>
                  <a:lnTo>
                    <a:pt x="118491" y="76200"/>
                  </a:lnTo>
                  <a:cubicBezTo>
                    <a:pt x="118491" y="77724"/>
                    <a:pt x="92012" y="78962"/>
                    <a:pt x="59246" y="78962"/>
                  </a:cubicBezTo>
                  <a:cubicBezTo>
                    <a:pt x="26480" y="78962"/>
                    <a:pt x="0" y="77724"/>
                    <a:pt x="0" y="76200"/>
                  </a:cubicBezTo>
                  <a:cubicBezTo>
                    <a:pt x="0" y="76200"/>
                    <a:pt x="31" y="76200"/>
                    <a:pt x="95" y="76200"/>
                  </a:cubicBezTo>
                  <a:lnTo>
                    <a:pt x="95" y="95"/>
                  </a:lnTo>
                  <a:cubicBezTo>
                    <a:pt x="2096" y="1619"/>
                    <a:pt x="27813" y="2762"/>
                    <a:pt x="59246" y="2762"/>
                  </a:cubicBezTo>
                  <a:cubicBezTo>
                    <a:pt x="90678" y="2762"/>
                    <a:pt x="118491" y="1524"/>
                    <a:pt x="118491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</p:grpSp>
      <p:grpSp>
        <p:nvGrpSpPr>
          <p:cNvPr id="6" name="Gruppieren 8">
            <a:extLst>
              <a:ext uri="{FF2B5EF4-FFF2-40B4-BE49-F238E27FC236}">
                <a16:creationId xmlns:a16="http://schemas.microsoft.com/office/drawing/2014/main" id="{D34A9D83-6AB3-757F-2605-A79CDFF52465}"/>
              </a:ext>
            </a:extLst>
          </p:cNvPr>
          <p:cNvGrpSpPr>
            <a:grpSpLocks/>
          </p:cNvGrpSpPr>
          <p:nvPr/>
        </p:nvGrpSpPr>
        <p:grpSpPr>
          <a:xfrm>
            <a:off x="1566637" y="4337817"/>
            <a:ext cx="1484700" cy="654876"/>
            <a:chOff x="1840625" y="4524467"/>
            <a:chExt cx="1484700" cy="654876"/>
          </a:xfrm>
        </p:grpSpPr>
        <p:sp>
          <p:nvSpPr>
            <p:cNvPr id="7" name="Freihandform: Form 9">
              <a:extLst>
                <a:ext uri="{FF2B5EF4-FFF2-40B4-BE49-F238E27FC236}">
                  <a16:creationId xmlns:a16="http://schemas.microsoft.com/office/drawing/2014/main" id="{5E11DD02-ABDE-EA4F-9AB3-8149B29E7EBD}"/>
                </a:ext>
              </a:extLst>
            </p:cNvPr>
            <p:cNvSpPr>
              <a:spLocks/>
            </p:cNvSpPr>
            <p:nvPr/>
          </p:nvSpPr>
          <p:spPr>
            <a:xfrm>
              <a:off x="1840625" y="4524467"/>
              <a:ext cx="1484700" cy="68770"/>
            </a:xfrm>
            <a:custGeom>
              <a:avLst/>
              <a:gdLst>
                <a:gd name="connsiteX0" fmla="*/ 189166 w 189166"/>
                <a:gd name="connsiteY0" fmla="*/ 4381 h 8762"/>
                <a:gd name="connsiteX1" fmla="*/ 189071 w 189166"/>
                <a:gd name="connsiteY1" fmla="*/ 4572 h 8762"/>
                <a:gd name="connsiteX2" fmla="*/ 94583 w 189166"/>
                <a:gd name="connsiteY2" fmla="*/ 8763 h 8762"/>
                <a:gd name="connsiteX3" fmla="*/ 95 w 189166"/>
                <a:gd name="connsiteY3" fmla="*/ 4572 h 8762"/>
                <a:gd name="connsiteX4" fmla="*/ 0 w 189166"/>
                <a:gd name="connsiteY4" fmla="*/ 4381 h 8762"/>
                <a:gd name="connsiteX5" fmla="*/ 94583 w 189166"/>
                <a:gd name="connsiteY5" fmla="*/ 0 h 8762"/>
                <a:gd name="connsiteX6" fmla="*/ 189166 w 189166"/>
                <a:gd name="connsiteY6" fmla="*/ 4381 h 8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9166" h="8762">
                  <a:moveTo>
                    <a:pt x="189166" y="4381"/>
                  </a:moveTo>
                  <a:cubicBezTo>
                    <a:pt x="189166" y="4381"/>
                    <a:pt x="189166" y="4572"/>
                    <a:pt x="189071" y="4572"/>
                  </a:cubicBezTo>
                  <a:cubicBezTo>
                    <a:pt x="186500" y="6953"/>
                    <a:pt x="145256" y="8763"/>
                    <a:pt x="94583" y="8763"/>
                  </a:cubicBezTo>
                  <a:cubicBezTo>
                    <a:pt x="43910" y="8763"/>
                    <a:pt x="2667" y="6953"/>
                    <a:pt x="95" y="4572"/>
                  </a:cubicBezTo>
                  <a:cubicBezTo>
                    <a:pt x="0" y="4572"/>
                    <a:pt x="0" y="4477"/>
                    <a:pt x="0" y="4381"/>
                  </a:cubicBezTo>
                  <a:cubicBezTo>
                    <a:pt x="0" y="1905"/>
                    <a:pt x="42386" y="0"/>
                    <a:pt x="94583" y="0"/>
                  </a:cubicBezTo>
                  <a:cubicBezTo>
                    <a:pt x="146780" y="0"/>
                    <a:pt x="189166" y="1905"/>
                    <a:pt x="189166" y="4381"/>
                  </a:cubicBezTo>
                  <a:close/>
                </a:path>
              </a:pathLst>
            </a:custGeom>
            <a:solidFill>
              <a:schemeClr val="accent2">
                <a:alpha val="50196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454545"/>
                </a:solidFill>
              </a:endParaRPr>
            </a:p>
          </p:txBody>
        </p:sp>
        <p:sp>
          <p:nvSpPr>
            <p:cNvPr id="9" name="Freihandform: Form 10">
              <a:extLst>
                <a:ext uri="{FF2B5EF4-FFF2-40B4-BE49-F238E27FC236}">
                  <a16:creationId xmlns:a16="http://schemas.microsoft.com/office/drawing/2014/main" id="{3C7682B7-74E0-0378-AC70-2560971DB31F}"/>
                </a:ext>
              </a:extLst>
            </p:cNvPr>
            <p:cNvSpPr>
              <a:spLocks/>
            </p:cNvSpPr>
            <p:nvPr/>
          </p:nvSpPr>
          <p:spPr>
            <a:xfrm>
              <a:off x="1841370" y="4560351"/>
              <a:ext cx="1483208" cy="618992"/>
            </a:xfrm>
            <a:custGeom>
              <a:avLst/>
              <a:gdLst>
                <a:gd name="connsiteX0" fmla="*/ 188976 w 188976"/>
                <a:gd name="connsiteY0" fmla="*/ 0 h 78866"/>
                <a:gd name="connsiteX1" fmla="*/ 157163 w 188976"/>
                <a:gd name="connsiteY1" fmla="*/ 75914 h 78866"/>
                <a:gd name="connsiteX2" fmla="*/ 94488 w 188976"/>
                <a:gd name="connsiteY2" fmla="*/ 78867 h 78866"/>
                <a:gd name="connsiteX3" fmla="*/ 31814 w 188976"/>
                <a:gd name="connsiteY3" fmla="*/ 75914 h 78866"/>
                <a:gd name="connsiteX4" fmla="*/ 31909 w 188976"/>
                <a:gd name="connsiteY4" fmla="*/ 75914 h 78866"/>
                <a:gd name="connsiteX5" fmla="*/ 31909 w 188976"/>
                <a:gd name="connsiteY5" fmla="*/ 75914 h 78866"/>
                <a:gd name="connsiteX6" fmla="*/ 0 w 188976"/>
                <a:gd name="connsiteY6" fmla="*/ 0 h 78866"/>
                <a:gd name="connsiteX7" fmla="*/ 94488 w 188976"/>
                <a:gd name="connsiteY7" fmla="*/ 4191 h 78866"/>
                <a:gd name="connsiteX8" fmla="*/ 188976 w 188976"/>
                <a:gd name="connsiteY8" fmla="*/ 0 h 78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8976" h="78866">
                  <a:moveTo>
                    <a:pt x="188976" y="0"/>
                  </a:moveTo>
                  <a:lnTo>
                    <a:pt x="157163" y="75914"/>
                  </a:lnTo>
                  <a:cubicBezTo>
                    <a:pt x="157163" y="77533"/>
                    <a:pt x="129159" y="78867"/>
                    <a:pt x="94488" y="78867"/>
                  </a:cubicBezTo>
                  <a:cubicBezTo>
                    <a:pt x="59817" y="78867"/>
                    <a:pt x="31814" y="77533"/>
                    <a:pt x="31814" y="75914"/>
                  </a:cubicBezTo>
                  <a:cubicBezTo>
                    <a:pt x="31814" y="75914"/>
                    <a:pt x="31845" y="75914"/>
                    <a:pt x="31909" y="75914"/>
                  </a:cubicBezTo>
                  <a:lnTo>
                    <a:pt x="31909" y="75914"/>
                  </a:lnTo>
                  <a:lnTo>
                    <a:pt x="0" y="0"/>
                  </a:lnTo>
                  <a:cubicBezTo>
                    <a:pt x="2572" y="2381"/>
                    <a:pt x="43910" y="4191"/>
                    <a:pt x="94488" y="4191"/>
                  </a:cubicBezTo>
                  <a:cubicBezTo>
                    <a:pt x="145066" y="4191"/>
                    <a:pt x="186404" y="2381"/>
                    <a:pt x="188976" y="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</p:grpSp>
      <p:grpSp>
        <p:nvGrpSpPr>
          <p:cNvPr id="11" name="Gruppieren 11">
            <a:extLst>
              <a:ext uri="{FF2B5EF4-FFF2-40B4-BE49-F238E27FC236}">
                <a16:creationId xmlns:a16="http://schemas.microsoft.com/office/drawing/2014/main" id="{537AFCCA-2379-155F-6034-687ACB2E5C9C}"/>
              </a:ext>
            </a:extLst>
          </p:cNvPr>
          <p:cNvGrpSpPr>
            <a:grpSpLocks/>
          </p:cNvGrpSpPr>
          <p:nvPr/>
        </p:nvGrpSpPr>
        <p:grpSpPr>
          <a:xfrm>
            <a:off x="1279564" y="3641068"/>
            <a:ext cx="2058845" cy="681789"/>
            <a:chOff x="1553552" y="3827718"/>
            <a:chExt cx="2058845" cy="681789"/>
          </a:xfrm>
        </p:grpSpPr>
        <p:sp>
          <p:nvSpPr>
            <p:cNvPr id="12" name="Freihandform: Form 12">
              <a:extLst>
                <a:ext uri="{FF2B5EF4-FFF2-40B4-BE49-F238E27FC236}">
                  <a16:creationId xmlns:a16="http://schemas.microsoft.com/office/drawing/2014/main" id="{3829CE9D-276F-5184-285D-7522CAD1891E}"/>
                </a:ext>
              </a:extLst>
            </p:cNvPr>
            <p:cNvSpPr>
              <a:spLocks/>
            </p:cNvSpPr>
            <p:nvPr/>
          </p:nvSpPr>
          <p:spPr>
            <a:xfrm>
              <a:off x="1553552" y="3827718"/>
              <a:ext cx="2058845" cy="95691"/>
            </a:xfrm>
            <a:custGeom>
              <a:avLst/>
              <a:gdLst>
                <a:gd name="connsiteX0" fmla="*/ 262319 w 262318"/>
                <a:gd name="connsiteY0" fmla="*/ 6096 h 12192"/>
                <a:gd name="connsiteX1" fmla="*/ 131159 w 262318"/>
                <a:gd name="connsiteY1" fmla="*/ 12192 h 12192"/>
                <a:gd name="connsiteX2" fmla="*/ 190 w 262318"/>
                <a:gd name="connsiteY2" fmla="*/ 6382 h 12192"/>
                <a:gd name="connsiteX3" fmla="*/ 0 w 262318"/>
                <a:gd name="connsiteY3" fmla="*/ 6096 h 12192"/>
                <a:gd name="connsiteX4" fmla="*/ 131159 w 262318"/>
                <a:gd name="connsiteY4" fmla="*/ 0 h 12192"/>
                <a:gd name="connsiteX5" fmla="*/ 262319 w 262318"/>
                <a:gd name="connsiteY5" fmla="*/ 6096 h 12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2318" h="12192">
                  <a:moveTo>
                    <a:pt x="262319" y="6096"/>
                  </a:moveTo>
                  <a:cubicBezTo>
                    <a:pt x="262319" y="9525"/>
                    <a:pt x="203644" y="12192"/>
                    <a:pt x="131159" y="12192"/>
                  </a:cubicBezTo>
                  <a:cubicBezTo>
                    <a:pt x="58674" y="12192"/>
                    <a:pt x="3715" y="9716"/>
                    <a:pt x="190" y="6382"/>
                  </a:cubicBezTo>
                  <a:cubicBezTo>
                    <a:pt x="190" y="6286"/>
                    <a:pt x="0" y="6191"/>
                    <a:pt x="0" y="6096"/>
                  </a:cubicBezTo>
                  <a:cubicBezTo>
                    <a:pt x="0" y="2667"/>
                    <a:pt x="58769" y="0"/>
                    <a:pt x="131159" y="0"/>
                  </a:cubicBezTo>
                  <a:cubicBezTo>
                    <a:pt x="203549" y="0"/>
                    <a:pt x="262319" y="2667"/>
                    <a:pt x="262319" y="6096"/>
                  </a:cubicBezTo>
                  <a:close/>
                </a:path>
              </a:pathLst>
            </a:custGeom>
            <a:solidFill>
              <a:schemeClr val="tx2">
                <a:alpha val="50196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454545"/>
                </a:solidFill>
              </a:endParaRPr>
            </a:p>
          </p:txBody>
        </p:sp>
        <p:sp>
          <p:nvSpPr>
            <p:cNvPr id="13" name="Freihandform: Form 13">
              <a:extLst>
                <a:ext uri="{FF2B5EF4-FFF2-40B4-BE49-F238E27FC236}">
                  <a16:creationId xmlns:a16="http://schemas.microsoft.com/office/drawing/2014/main" id="{FB1E6914-7584-678A-791A-0A0D68693FE3}"/>
                </a:ext>
              </a:extLst>
            </p:cNvPr>
            <p:cNvSpPr>
              <a:spLocks/>
            </p:cNvSpPr>
            <p:nvPr/>
          </p:nvSpPr>
          <p:spPr>
            <a:xfrm>
              <a:off x="1555051" y="3875563"/>
              <a:ext cx="2057346" cy="633944"/>
            </a:xfrm>
            <a:custGeom>
              <a:avLst/>
              <a:gdLst>
                <a:gd name="connsiteX0" fmla="*/ 262128 w 262127"/>
                <a:gd name="connsiteY0" fmla="*/ 0 h 80771"/>
                <a:gd name="connsiteX1" fmla="*/ 230219 w 262127"/>
                <a:gd name="connsiteY1" fmla="*/ 76105 h 80771"/>
                <a:gd name="connsiteX2" fmla="*/ 130969 w 262127"/>
                <a:gd name="connsiteY2" fmla="*/ 80772 h 80771"/>
                <a:gd name="connsiteX3" fmla="*/ 31718 w 262127"/>
                <a:gd name="connsiteY3" fmla="*/ 76105 h 80771"/>
                <a:gd name="connsiteX4" fmla="*/ 31814 w 262127"/>
                <a:gd name="connsiteY4" fmla="*/ 76105 h 80771"/>
                <a:gd name="connsiteX5" fmla="*/ 31814 w 262127"/>
                <a:gd name="connsiteY5" fmla="*/ 75914 h 80771"/>
                <a:gd name="connsiteX6" fmla="*/ 0 w 262127"/>
                <a:gd name="connsiteY6" fmla="*/ 286 h 80771"/>
                <a:gd name="connsiteX7" fmla="*/ 130969 w 262127"/>
                <a:gd name="connsiteY7" fmla="*/ 6096 h 80771"/>
                <a:gd name="connsiteX8" fmla="*/ 262128 w 262127"/>
                <a:gd name="connsiteY8" fmla="*/ 0 h 80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2127" h="80771">
                  <a:moveTo>
                    <a:pt x="262128" y="0"/>
                  </a:moveTo>
                  <a:lnTo>
                    <a:pt x="230219" y="76105"/>
                  </a:lnTo>
                  <a:cubicBezTo>
                    <a:pt x="230219" y="78676"/>
                    <a:pt x="185833" y="80772"/>
                    <a:pt x="130969" y="80772"/>
                  </a:cubicBezTo>
                  <a:cubicBezTo>
                    <a:pt x="76105" y="80772"/>
                    <a:pt x="31718" y="78676"/>
                    <a:pt x="31718" y="76105"/>
                  </a:cubicBezTo>
                  <a:lnTo>
                    <a:pt x="31814" y="76105"/>
                  </a:lnTo>
                  <a:lnTo>
                    <a:pt x="31814" y="75914"/>
                  </a:lnTo>
                  <a:lnTo>
                    <a:pt x="0" y="286"/>
                  </a:lnTo>
                  <a:cubicBezTo>
                    <a:pt x="3524" y="3619"/>
                    <a:pt x="60865" y="6096"/>
                    <a:pt x="130969" y="6096"/>
                  </a:cubicBezTo>
                  <a:cubicBezTo>
                    <a:pt x="201073" y="6096"/>
                    <a:pt x="262128" y="3429"/>
                    <a:pt x="262128" y="0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</p:grpSp>
      <p:grpSp>
        <p:nvGrpSpPr>
          <p:cNvPr id="14" name="Gruppieren 14">
            <a:extLst>
              <a:ext uri="{FF2B5EF4-FFF2-40B4-BE49-F238E27FC236}">
                <a16:creationId xmlns:a16="http://schemas.microsoft.com/office/drawing/2014/main" id="{36068CD3-0DA5-AFC4-DC94-F74C8D8940D3}"/>
              </a:ext>
            </a:extLst>
          </p:cNvPr>
          <p:cNvGrpSpPr>
            <a:grpSpLocks/>
          </p:cNvGrpSpPr>
          <p:nvPr/>
        </p:nvGrpSpPr>
        <p:grpSpPr>
          <a:xfrm>
            <a:off x="992492" y="2944319"/>
            <a:ext cx="2632990" cy="708702"/>
            <a:chOff x="1266480" y="3130969"/>
            <a:chExt cx="2632990" cy="708702"/>
          </a:xfrm>
        </p:grpSpPr>
        <p:sp>
          <p:nvSpPr>
            <p:cNvPr id="15" name="Freihandform: Form 15">
              <a:extLst>
                <a:ext uri="{FF2B5EF4-FFF2-40B4-BE49-F238E27FC236}">
                  <a16:creationId xmlns:a16="http://schemas.microsoft.com/office/drawing/2014/main" id="{529DA37F-5C49-B081-6455-D604CD0D8F94}"/>
                </a:ext>
              </a:extLst>
            </p:cNvPr>
            <p:cNvSpPr>
              <a:spLocks/>
            </p:cNvSpPr>
            <p:nvPr/>
          </p:nvSpPr>
          <p:spPr>
            <a:xfrm>
              <a:off x="1268724" y="3195257"/>
              <a:ext cx="2629254" cy="644414"/>
            </a:xfrm>
            <a:custGeom>
              <a:avLst/>
              <a:gdLst>
                <a:gd name="connsiteX0" fmla="*/ 334994 w 334994"/>
                <a:gd name="connsiteY0" fmla="*/ 0 h 82105"/>
                <a:gd name="connsiteX1" fmla="*/ 303181 w 334994"/>
                <a:gd name="connsiteY1" fmla="*/ 75724 h 82105"/>
                <a:gd name="connsiteX2" fmla="*/ 167450 w 334994"/>
                <a:gd name="connsiteY2" fmla="*/ 82105 h 82105"/>
                <a:gd name="connsiteX3" fmla="*/ 31718 w 334994"/>
                <a:gd name="connsiteY3" fmla="*/ 75724 h 82105"/>
                <a:gd name="connsiteX4" fmla="*/ 0 w 334994"/>
                <a:gd name="connsiteY4" fmla="*/ 95 h 82105"/>
                <a:gd name="connsiteX5" fmla="*/ 167450 w 334994"/>
                <a:gd name="connsiteY5" fmla="*/ 7430 h 82105"/>
                <a:gd name="connsiteX6" fmla="*/ 334994 w 334994"/>
                <a:gd name="connsiteY6" fmla="*/ 0 h 82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4994" h="82105">
                  <a:moveTo>
                    <a:pt x="334994" y="0"/>
                  </a:moveTo>
                  <a:lnTo>
                    <a:pt x="303181" y="75724"/>
                  </a:lnTo>
                  <a:cubicBezTo>
                    <a:pt x="303181" y="79248"/>
                    <a:pt x="242411" y="82105"/>
                    <a:pt x="167450" y="82105"/>
                  </a:cubicBezTo>
                  <a:cubicBezTo>
                    <a:pt x="92488" y="82105"/>
                    <a:pt x="31718" y="79248"/>
                    <a:pt x="31718" y="75724"/>
                  </a:cubicBezTo>
                  <a:lnTo>
                    <a:pt x="0" y="95"/>
                  </a:lnTo>
                  <a:cubicBezTo>
                    <a:pt x="5143" y="4286"/>
                    <a:pt x="78200" y="7430"/>
                    <a:pt x="167450" y="7430"/>
                  </a:cubicBezTo>
                  <a:cubicBezTo>
                    <a:pt x="256699" y="7430"/>
                    <a:pt x="330518" y="4191"/>
                    <a:pt x="334994" y="0"/>
                  </a:cubicBez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16" name="Freihandform: Form 16">
              <a:extLst>
                <a:ext uri="{FF2B5EF4-FFF2-40B4-BE49-F238E27FC236}">
                  <a16:creationId xmlns:a16="http://schemas.microsoft.com/office/drawing/2014/main" id="{46B875E8-1E2D-C0D6-5BE7-10F27E171BE1}"/>
                </a:ext>
              </a:extLst>
            </p:cNvPr>
            <p:cNvSpPr>
              <a:spLocks/>
            </p:cNvSpPr>
            <p:nvPr/>
          </p:nvSpPr>
          <p:spPr>
            <a:xfrm>
              <a:off x="1266480" y="3130969"/>
              <a:ext cx="2632990" cy="122604"/>
            </a:xfrm>
            <a:custGeom>
              <a:avLst/>
              <a:gdLst>
                <a:gd name="connsiteX0" fmla="*/ 335471 w 335470"/>
                <a:gd name="connsiteY0" fmla="*/ 7810 h 15621"/>
                <a:gd name="connsiteX1" fmla="*/ 335280 w 335470"/>
                <a:gd name="connsiteY1" fmla="*/ 8192 h 15621"/>
                <a:gd name="connsiteX2" fmla="*/ 167735 w 335470"/>
                <a:gd name="connsiteY2" fmla="*/ 15621 h 15621"/>
                <a:gd name="connsiteX3" fmla="*/ 286 w 335470"/>
                <a:gd name="connsiteY3" fmla="*/ 8287 h 15621"/>
                <a:gd name="connsiteX4" fmla="*/ 190 w 335470"/>
                <a:gd name="connsiteY4" fmla="*/ 8192 h 15621"/>
                <a:gd name="connsiteX5" fmla="*/ 0 w 335470"/>
                <a:gd name="connsiteY5" fmla="*/ 7810 h 15621"/>
                <a:gd name="connsiteX6" fmla="*/ 167735 w 335470"/>
                <a:gd name="connsiteY6" fmla="*/ 0 h 15621"/>
                <a:gd name="connsiteX7" fmla="*/ 335471 w 335470"/>
                <a:gd name="connsiteY7" fmla="*/ 7810 h 15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5470" h="15621">
                  <a:moveTo>
                    <a:pt x="335471" y="7810"/>
                  </a:moveTo>
                  <a:cubicBezTo>
                    <a:pt x="335471" y="7810"/>
                    <a:pt x="335375" y="8096"/>
                    <a:pt x="335280" y="8192"/>
                  </a:cubicBezTo>
                  <a:cubicBezTo>
                    <a:pt x="330803" y="12383"/>
                    <a:pt x="257556" y="15621"/>
                    <a:pt x="167735" y="15621"/>
                  </a:cubicBezTo>
                  <a:cubicBezTo>
                    <a:pt x="77915" y="15621"/>
                    <a:pt x="5429" y="12478"/>
                    <a:pt x="286" y="8287"/>
                  </a:cubicBezTo>
                  <a:cubicBezTo>
                    <a:pt x="286" y="8287"/>
                    <a:pt x="286" y="8192"/>
                    <a:pt x="190" y="8192"/>
                  </a:cubicBezTo>
                  <a:cubicBezTo>
                    <a:pt x="95" y="8096"/>
                    <a:pt x="0" y="7906"/>
                    <a:pt x="0" y="7810"/>
                  </a:cubicBezTo>
                  <a:cubicBezTo>
                    <a:pt x="0" y="3429"/>
                    <a:pt x="75152" y="0"/>
                    <a:pt x="167735" y="0"/>
                  </a:cubicBezTo>
                  <a:cubicBezTo>
                    <a:pt x="260318" y="0"/>
                    <a:pt x="335471" y="3429"/>
                    <a:pt x="335471" y="7810"/>
                  </a:cubicBezTo>
                  <a:close/>
                </a:path>
              </a:pathLst>
            </a:custGeom>
            <a:solidFill>
              <a:schemeClr val="accent6">
                <a:alpha val="50196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454545"/>
                </a:solidFill>
              </a:endParaRPr>
            </a:p>
          </p:txBody>
        </p:sp>
      </p:grpSp>
      <p:grpSp>
        <p:nvGrpSpPr>
          <p:cNvPr id="17" name="Gruppieren 17">
            <a:extLst>
              <a:ext uri="{FF2B5EF4-FFF2-40B4-BE49-F238E27FC236}">
                <a16:creationId xmlns:a16="http://schemas.microsoft.com/office/drawing/2014/main" id="{E3F4BF61-6444-86BB-6E35-F446A7B19968}"/>
              </a:ext>
            </a:extLst>
          </p:cNvPr>
          <p:cNvGrpSpPr>
            <a:grpSpLocks/>
          </p:cNvGrpSpPr>
          <p:nvPr/>
        </p:nvGrpSpPr>
        <p:grpSpPr>
          <a:xfrm>
            <a:off x="705419" y="2246816"/>
            <a:ext cx="3207135" cy="736370"/>
            <a:chOff x="979407" y="2433466"/>
            <a:chExt cx="3207135" cy="736370"/>
          </a:xfrm>
        </p:grpSpPr>
        <p:sp>
          <p:nvSpPr>
            <p:cNvPr id="18" name="Freihandform: Form 18">
              <a:extLst>
                <a:ext uri="{FF2B5EF4-FFF2-40B4-BE49-F238E27FC236}">
                  <a16:creationId xmlns:a16="http://schemas.microsoft.com/office/drawing/2014/main" id="{F9574191-C394-B78A-8AE1-9C69234A3F32}"/>
                </a:ext>
              </a:extLst>
            </p:cNvPr>
            <p:cNvSpPr>
              <a:spLocks/>
            </p:cNvSpPr>
            <p:nvPr/>
          </p:nvSpPr>
          <p:spPr>
            <a:xfrm>
              <a:off x="979407" y="2433466"/>
              <a:ext cx="3207135" cy="149517"/>
            </a:xfrm>
            <a:custGeom>
              <a:avLst/>
              <a:gdLst>
                <a:gd name="connsiteX0" fmla="*/ 408623 w 408622"/>
                <a:gd name="connsiteY0" fmla="*/ 9525 h 19050"/>
                <a:gd name="connsiteX1" fmla="*/ 204311 w 408622"/>
                <a:gd name="connsiteY1" fmla="*/ 19050 h 19050"/>
                <a:gd name="connsiteX2" fmla="*/ 286 w 408622"/>
                <a:gd name="connsiteY2" fmla="*/ 10001 h 19050"/>
                <a:gd name="connsiteX3" fmla="*/ 0 w 408622"/>
                <a:gd name="connsiteY3" fmla="*/ 9525 h 19050"/>
                <a:gd name="connsiteX4" fmla="*/ 204311 w 408622"/>
                <a:gd name="connsiteY4" fmla="*/ 0 h 19050"/>
                <a:gd name="connsiteX5" fmla="*/ 408623 w 408622"/>
                <a:gd name="connsiteY5" fmla="*/ 9525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622" h="19050">
                  <a:moveTo>
                    <a:pt x="408623" y="9525"/>
                  </a:moveTo>
                  <a:cubicBezTo>
                    <a:pt x="408623" y="14764"/>
                    <a:pt x="317183" y="19050"/>
                    <a:pt x="204311" y="19050"/>
                  </a:cubicBezTo>
                  <a:cubicBezTo>
                    <a:pt x="91440" y="19050"/>
                    <a:pt x="5715" y="15049"/>
                    <a:pt x="286" y="10001"/>
                  </a:cubicBezTo>
                  <a:cubicBezTo>
                    <a:pt x="95" y="9811"/>
                    <a:pt x="0" y="9716"/>
                    <a:pt x="0" y="9525"/>
                  </a:cubicBezTo>
                  <a:cubicBezTo>
                    <a:pt x="0" y="4286"/>
                    <a:pt x="91440" y="0"/>
                    <a:pt x="204311" y="0"/>
                  </a:cubicBezTo>
                  <a:cubicBezTo>
                    <a:pt x="317183" y="0"/>
                    <a:pt x="408623" y="4286"/>
                    <a:pt x="408623" y="9525"/>
                  </a:cubicBezTo>
                  <a:close/>
                </a:path>
              </a:pathLst>
            </a:custGeom>
            <a:solidFill>
              <a:schemeClr val="accent5">
                <a:alpha val="50196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454545"/>
                </a:solidFill>
              </a:endParaRPr>
            </a:p>
          </p:txBody>
        </p:sp>
        <p:sp>
          <p:nvSpPr>
            <p:cNvPr id="19" name="Freihandform: Form 19">
              <a:extLst>
                <a:ext uri="{FF2B5EF4-FFF2-40B4-BE49-F238E27FC236}">
                  <a16:creationId xmlns:a16="http://schemas.microsoft.com/office/drawing/2014/main" id="{151AB6A7-E774-84D6-68B4-F3B6157E23A2}"/>
                </a:ext>
              </a:extLst>
            </p:cNvPr>
            <p:cNvSpPr>
              <a:spLocks/>
            </p:cNvSpPr>
            <p:nvPr/>
          </p:nvSpPr>
          <p:spPr>
            <a:xfrm>
              <a:off x="981652" y="2508225"/>
              <a:ext cx="3204890" cy="661611"/>
            </a:xfrm>
            <a:custGeom>
              <a:avLst/>
              <a:gdLst>
                <a:gd name="connsiteX0" fmla="*/ 408337 w 408336"/>
                <a:gd name="connsiteY0" fmla="*/ 0 h 84296"/>
                <a:gd name="connsiteX1" fmla="*/ 376333 w 408336"/>
                <a:gd name="connsiteY1" fmla="*/ 76200 h 84296"/>
                <a:gd name="connsiteX2" fmla="*/ 204026 w 408336"/>
                <a:gd name="connsiteY2" fmla="*/ 84296 h 84296"/>
                <a:gd name="connsiteX3" fmla="*/ 31718 w 408336"/>
                <a:gd name="connsiteY3" fmla="*/ 76200 h 84296"/>
                <a:gd name="connsiteX4" fmla="*/ 0 w 408336"/>
                <a:gd name="connsiteY4" fmla="*/ 476 h 84296"/>
                <a:gd name="connsiteX5" fmla="*/ 204026 w 408336"/>
                <a:gd name="connsiteY5" fmla="*/ 9525 h 84296"/>
                <a:gd name="connsiteX6" fmla="*/ 408337 w 408336"/>
                <a:gd name="connsiteY6" fmla="*/ 0 h 8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336" h="84296">
                  <a:moveTo>
                    <a:pt x="408337" y="0"/>
                  </a:moveTo>
                  <a:lnTo>
                    <a:pt x="376333" y="76200"/>
                  </a:lnTo>
                  <a:cubicBezTo>
                    <a:pt x="376333" y="80677"/>
                    <a:pt x="299180" y="84296"/>
                    <a:pt x="204026" y="84296"/>
                  </a:cubicBezTo>
                  <a:cubicBezTo>
                    <a:pt x="108871" y="84296"/>
                    <a:pt x="31718" y="80677"/>
                    <a:pt x="31718" y="76200"/>
                  </a:cubicBezTo>
                  <a:lnTo>
                    <a:pt x="0" y="476"/>
                  </a:lnTo>
                  <a:cubicBezTo>
                    <a:pt x="5429" y="5524"/>
                    <a:pt x="94679" y="9525"/>
                    <a:pt x="204026" y="9525"/>
                  </a:cubicBezTo>
                  <a:cubicBezTo>
                    <a:pt x="313373" y="9525"/>
                    <a:pt x="408337" y="5239"/>
                    <a:pt x="408337" y="0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</p:grpSp>
      <p:sp>
        <p:nvSpPr>
          <p:cNvPr id="20" name="Gleichschenkliges Dreieck 39">
            <a:extLst>
              <a:ext uri="{FF2B5EF4-FFF2-40B4-BE49-F238E27FC236}">
                <a16:creationId xmlns:a16="http://schemas.microsoft.com/office/drawing/2014/main" id="{1DC56D59-FC62-D13A-9EBD-5B4A7F45B014}"/>
              </a:ext>
            </a:extLst>
          </p:cNvPr>
          <p:cNvSpPr>
            <a:spLocks/>
          </p:cNvSpPr>
          <p:nvPr/>
        </p:nvSpPr>
        <p:spPr>
          <a:xfrm rot="10800000">
            <a:off x="2157305" y="5812273"/>
            <a:ext cx="303379" cy="159723"/>
          </a:xfrm>
          <a:custGeom>
            <a:avLst/>
            <a:gdLst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  <a:gd name="connsiteX3" fmla="*/ 0 w 303379"/>
              <a:gd name="connsiteY3" fmla="*/ 159723 h 159723"/>
              <a:gd name="connsiteX0" fmla="*/ 0 w 303379"/>
              <a:gd name="connsiteY0" fmla="*/ 159723 h 251163"/>
              <a:gd name="connsiteX1" fmla="*/ 151690 w 303379"/>
              <a:gd name="connsiteY1" fmla="*/ 0 h 251163"/>
              <a:gd name="connsiteX2" fmla="*/ 303379 w 303379"/>
              <a:gd name="connsiteY2" fmla="*/ 159723 h 251163"/>
              <a:gd name="connsiteX3" fmla="*/ 91440 w 303379"/>
              <a:gd name="connsiteY3" fmla="*/ 251163 h 251163"/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3379" h="159723">
                <a:moveTo>
                  <a:pt x="0" y="159723"/>
                </a:moveTo>
                <a:lnTo>
                  <a:pt x="151690" y="0"/>
                </a:lnTo>
                <a:lnTo>
                  <a:pt x="303379" y="159723"/>
                </a:lnTo>
              </a:path>
            </a:pathLst>
          </a:custGeom>
          <a:noFill/>
          <a:ln w="3810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ea typeface="+mn-ea"/>
            </a:endParaRPr>
          </a:p>
        </p:txBody>
      </p:sp>
      <p:grpSp>
        <p:nvGrpSpPr>
          <p:cNvPr id="21" name="Gruppieren 21">
            <a:extLst>
              <a:ext uri="{FF2B5EF4-FFF2-40B4-BE49-F238E27FC236}">
                <a16:creationId xmlns:a16="http://schemas.microsoft.com/office/drawing/2014/main" id="{7569CD23-7396-33C1-3DBD-9C49A3B852D0}"/>
              </a:ext>
            </a:extLst>
          </p:cNvPr>
          <p:cNvGrpSpPr>
            <a:grpSpLocks/>
          </p:cNvGrpSpPr>
          <p:nvPr/>
        </p:nvGrpSpPr>
        <p:grpSpPr>
          <a:xfrm>
            <a:off x="419100" y="1550075"/>
            <a:ext cx="3779789" cy="763283"/>
            <a:chOff x="693088" y="1736725"/>
            <a:chExt cx="3779789" cy="763283"/>
          </a:xfrm>
        </p:grpSpPr>
        <p:sp>
          <p:nvSpPr>
            <p:cNvPr id="22" name="Freihandform: Form 22">
              <a:extLst>
                <a:ext uri="{FF2B5EF4-FFF2-40B4-BE49-F238E27FC236}">
                  <a16:creationId xmlns:a16="http://schemas.microsoft.com/office/drawing/2014/main" id="{7C1D95CF-359E-62D4-26E7-2798C572AF54}"/>
                </a:ext>
              </a:extLst>
            </p:cNvPr>
            <p:cNvSpPr>
              <a:spLocks/>
            </p:cNvSpPr>
            <p:nvPr/>
          </p:nvSpPr>
          <p:spPr>
            <a:xfrm>
              <a:off x="695325" y="1829426"/>
              <a:ext cx="3775300" cy="670582"/>
            </a:xfrm>
            <a:custGeom>
              <a:avLst/>
              <a:gdLst>
                <a:gd name="connsiteX0" fmla="*/ 481013 w 481012"/>
                <a:gd name="connsiteY0" fmla="*/ 0 h 85439"/>
                <a:gd name="connsiteX1" fmla="*/ 449390 w 481012"/>
                <a:gd name="connsiteY1" fmla="*/ 75629 h 85439"/>
                <a:gd name="connsiteX2" fmla="*/ 240506 w 481012"/>
                <a:gd name="connsiteY2" fmla="*/ 85439 h 85439"/>
                <a:gd name="connsiteX3" fmla="*/ 31623 w 481012"/>
                <a:gd name="connsiteY3" fmla="*/ 75629 h 85439"/>
                <a:gd name="connsiteX4" fmla="*/ 31718 w 481012"/>
                <a:gd name="connsiteY4" fmla="*/ 75629 h 85439"/>
                <a:gd name="connsiteX5" fmla="*/ 0 w 481012"/>
                <a:gd name="connsiteY5" fmla="*/ 0 h 85439"/>
                <a:gd name="connsiteX6" fmla="*/ 240506 w 481012"/>
                <a:gd name="connsiteY6" fmla="*/ 10668 h 85439"/>
                <a:gd name="connsiteX7" fmla="*/ 481013 w 481012"/>
                <a:gd name="connsiteY7" fmla="*/ 0 h 85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1012" h="85439">
                  <a:moveTo>
                    <a:pt x="481013" y="0"/>
                  </a:moveTo>
                  <a:lnTo>
                    <a:pt x="449390" y="75629"/>
                  </a:lnTo>
                  <a:cubicBezTo>
                    <a:pt x="449390" y="81058"/>
                    <a:pt x="355854" y="85439"/>
                    <a:pt x="240506" y="85439"/>
                  </a:cubicBezTo>
                  <a:cubicBezTo>
                    <a:pt x="125159" y="85439"/>
                    <a:pt x="31623" y="81058"/>
                    <a:pt x="31623" y="75629"/>
                  </a:cubicBezTo>
                  <a:lnTo>
                    <a:pt x="31718" y="75629"/>
                  </a:lnTo>
                  <a:lnTo>
                    <a:pt x="0" y="0"/>
                  </a:lnTo>
                  <a:cubicBezTo>
                    <a:pt x="6477" y="5906"/>
                    <a:pt x="111728" y="10668"/>
                    <a:pt x="240506" y="10668"/>
                  </a:cubicBezTo>
                  <a:cubicBezTo>
                    <a:pt x="369284" y="10668"/>
                    <a:pt x="474536" y="5906"/>
                    <a:pt x="481013" y="0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3" name="Freihandform: Form 23">
              <a:extLst>
                <a:ext uri="{FF2B5EF4-FFF2-40B4-BE49-F238E27FC236}">
                  <a16:creationId xmlns:a16="http://schemas.microsoft.com/office/drawing/2014/main" id="{086C4193-1E1C-C294-2DE4-6AD387370DEA}"/>
                </a:ext>
              </a:extLst>
            </p:cNvPr>
            <p:cNvSpPr>
              <a:spLocks/>
            </p:cNvSpPr>
            <p:nvPr/>
          </p:nvSpPr>
          <p:spPr>
            <a:xfrm>
              <a:off x="693088" y="1736725"/>
              <a:ext cx="3779789" cy="176422"/>
            </a:xfrm>
            <a:custGeom>
              <a:avLst/>
              <a:gdLst>
                <a:gd name="connsiteX0" fmla="*/ 481584 w 481584"/>
                <a:gd name="connsiteY0" fmla="*/ 11239 h 22478"/>
                <a:gd name="connsiteX1" fmla="*/ 481298 w 481584"/>
                <a:gd name="connsiteY1" fmla="*/ 11811 h 22478"/>
                <a:gd name="connsiteX2" fmla="*/ 240792 w 481584"/>
                <a:gd name="connsiteY2" fmla="*/ 22479 h 22478"/>
                <a:gd name="connsiteX3" fmla="*/ 286 w 481584"/>
                <a:gd name="connsiteY3" fmla="*/ 11811 h 22478"/>
                <a:gd name="connsiteX4" fmla="*/ 0 w 481584"/>
                <a:gd name="connsiteY4" fmla="*/ 11239 h 22478"/>
                <a:gd name="connsiteX5" fmla="*/ 240792 w 481584"/>
                <a:gd name="connsiteY5" fmla="*/ 0 h 22478"/>
                <a:gd name="connsiteX6" fmla="*/ 481584 w 481584"/>
                <a:gd name="connsiteY6" fmla="*/ 11239 h 2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1584" h="22478">
                  <a:moveTo>
                    <a:pt x="481584" y="11239"/>
                  </a:moveTo>
                  <a:cubicBezTo>
                    <a:pt x="481584" y="11239"/>
                    <a:pt x="481489" y="11621"/>
                    <a:pt x="481298" y="11811"/>
                  </a:cubicBezTo>
                  <a:cubicBezTo>
                    <a:pt x="474821" y="17717"/>
                    <a:pt x="369570" y="22479"/>
                    <a:pt x="240792" y="22479"/>
                  </a:cubicBezTo>
                  <a:cubicBezTo>
                    <a:pt x="112014" y="22479"/>
                    <a:pt x="6763" y="17717"/>
                    <a:pt x="286" y="11811"/>
                  </a:cubicBezTo>
                  <a:cubicBezTo>
                    <a:pt x="95" y="11621"/>
                    <a:pt x="0" y="11430"/>
                    <a:pt x="0" y="11239"/>
                  </a:cubicBezTo>
                  <a:cubicBezTo>
                    <a:pt x="0" y="5048"/>
                    <a:pt x="107823" y="0"/>
                    <a:pt x="240792" y="0"/>
                  </a:cubicBezTo>
                  <a:cubicBezTo>
                    <a:pt x="373761" y="0"/>
                    <a:pt x="481584" y="5048"/>
                    <a:pt x="481584" y="11239"/>
                  </a:cubicBezTo>
                  <a:close/>
                </a:path>
              </a:pathLst>
            </a:custGeom>
            <a:solidFill>
              <a:schemeClr val="bg2">
                <a:alpha val="50196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454545"/>
                </a:solidFill>
              </a:endParaRPr>
            </a:p>
          </p:txBody>
        </p:sp>
      </p:grpSp>
      <p:sp>
        <p:nvSpPr>
          <p:cNvPr id="24" name="Textfeld 74">
            <a:extLst>
              <a:ext uri="{FF2B5EF4-FFF2-40B4-BE49-F238E27FC236}">
                <a16:creationId xmlns:a16="http://schemas.microsoft.com/office/drawing/2014/main" id="{EE371A0C-B9FE-EE05-C3E0-B063B2D911D1}"/>
              </a:ext>
            </a:extLst>
          </p:cNvPr>
          <p:cNvSpPr txBox="1">
            <a:spLocks/>
          </p:cNvSpPr>
          <p:nvPr/>
        </p:nvSpPr>
        <p:spPr>
          <a:xfrm>
            <a:off x="705419" y="1931305"/>
            <a:ext cx="3207134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Tx/>
              <a:buNone/>
              <a:tabLst>
                <a:tab pos="1079500" algn="l"/>
              </a:tabLst>
              <a:defRPr/>
            </a:pPr>
            <a:r>
              <a:rPr kumimoji="0" lang="en-US" sz="1400" b="0" i="0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Helvetica" panose="020B0604020202020204" pitchFamily="34" charset="0"/>
              </a:rPr>
              <a:t>Phase 1</a:t>
            </a:r>
          </a:p>
        </p:txBody>
      </p:sp>
      <p:sp>
        <p:nvSpPr>
          <p:cNvPr id="25" name="Textfeld 110">
            <a:extLst>
              <a:ext uri="{FF2B5EF4-FFF2-40B4-BE49-F238E27FC236}">
                <a16:creationId xmlns:a16="http://schemas.microsoft.com/office/drawing/2014/main" id="{E8EB17C7-89A3-8DDD-AD40-E0F430DC2A2C}"/>
              </a:ext>
            </a:extLst>
          </p:cNvPr>
          <p:cNvSpPr txBox="1">
            <a:spLocks/>
          </p:cNvSpPr>
          <p:nvPr/>
        </p:nvSpPr>
        <p:spPr>
          <a:xfrm>
            <a:off x="993982" y="2575138"/>
            <a:ext cx="2630008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Tx/>
              <a:buNone/>
              <a:tabLst>
                <a:tab pos="1079500" algn="l"/>
              </a:tabLst>
              <a:defRPr/>
            </a:pPr>
            <a:r>
              <a:rPr kumimoji="0" lang="en-US" sz="1400" b="0" i="0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Helvetica" panose="020B0604020202020204" pitchFamily="34" charset="0"/>
              </a:rPr>
              <a:t>Phase 2</a:t>
            </a:r>
          </a:p>
        </p:txBody>
      </p:sp>
      <p:sp>
        <p:nvSpPr>
          <p:cNvPr id="26" name="Textfeld 111">
            <a:extLst>
              <a:ext uri="{FF2B5EF4-FFF2-40B4-BE49-F238E27FC236}">
                <a16:creationId xmlns:a16="http://schemas.microsoft.com/office/drawing/2014/main" id="{449E4072-2001-4536-75A9-1679C70831E6}"/>
              </a:ext>
            </a:extLst>
          </p:cNvPr>
          <p:cNvSpPr txBox="1">
            <a:spLocks/>
          </p:cNvSpPr>
          <p:nvPr/>
        </p:nvSpPr>
        <p:spPr>
          <a:xfrm>
            <a:off x="1279564" y="3245952"/>
            <a:ext cx="2058844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Tx/>
              <a:buNone/>
              <a:tabLst>
                <a:tab pos="1079500" algn="l"/>
              </a:tabLst>
              <a:defRPr/>
            </a:pPr>
            <a:r>
              <a:rPr kumimoji="0" lang="en-US" sz="1400" b="0" i="0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Helvetica" panose="020B0604020202020204" pitchFamily="34" charset="0"/>
              </a:rPr>
              <a:t>Phase 3</a:t>
            </a:r>
          </a:p>
        </p:txBody>
      </p:sp>
      <p:sp>
        <p:nvSpPr>
          <p:cNvPr id="27" name="Textfeld 112">
            <a:extLst>
              <a:ext uri="{FF2B5EF4-FFF2-40B4-BE49-F238E27FC236}">
                <a16:creationId xmlns:a16="http://schemas.microsoft.com/office/drawing/2014/main" id="{6E75560D-864F-6AC0-3343-E2C849EDABF3}"/>
              </a:ext>
            </a:extLst>
          </p:cNvPr>
          <p:cNvSpPr txBox="1">
            <a:spLocks/>
          </p:cNvSpPr>
          <p:nvPr/>
        </p:nvSpPr>
        <p:spPr>
          <a:xfrm>
            <a:off x="1567382" y="3913403"/>
            <a:ext cx="1483208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Tx/>
              <a:buNone/>
              <a:tabLst>
                <a:tab pos="1079500" algn="l"/>
              </a:tabLst>
              <a:defRPr/>
            </a:pPr>
            <a:r>
              <a:rPr kumimoji="0" lang="en-US" sz="1400" b="0" i="0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Helvetica" panose="020B0604020202020204" pitchFamily="34" charset="0"/>
              </a:rPr>
              <a:t>Phase 4</a:t>
            </a:r>
          </a:p>
        </p:txBody>
      </p:sp>
      <p:sp>
        <p:nvSpPr>
          <p:cNvPr id="28" name="Textfeld 113">
            <a:extLst>
              <a:ext uri="{FF2B5EF4-FFF2-40B4-BE49-F238E27FC236}">
                <a16:creationId xmlns:a16="http://schemas.microsoft.com/office/drawing/2014/main" id="{4566242C-1E14-E410-97ED-1DDEF0CFA155}"/>
              </a:ext>
            </a:extLst>
          </p:cNvPr>
          <p:cNvSpPr txBox="1">
            <a:spLocks/>
          </p:cNvSpPr>
          <p:nvPr/>
        </p:nvSpPr>
        <p:spPr>
          <a:xfrm>
            <a:off x="1844738" y="4575475"/>
            <a:ext cx="928496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Tx/>
              <a:buNone/>
              <a:tabLst>
                <a:tab pos="1079500" algn="l"/>
              </a:tabLst>
              <a:defRPr/>
            </a:pPr>
            <a:r>
              <a:rPr kumimoji="0" lang="en-US" sz="1400" b="0" i="0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Helvetica" panose="020B0604020202020204" pitchFamily="34" charset="0"/>
              </a:rPr>
              <a:t>Phase 5</a:t>
            </a:r>
          </a:p>
        </p:txBody>
      </p:sp>
      <p:sp>
        <p:nvSpPr>
          <p:cNvPr id="29" name="Textfeld 114">
            <a:extLst>
              <a:ext uri="{FF2B5EF4-FFF2-40B4-BE49-F238E27FC236}">
                <a16:creationId xmlns:a16="http://schemas.microsoft.com/office/drawing/2014/main" id="{44BCA168-0342-72E3-1F05-EA36988B40F1}"/>
              </a:ext>
            </a:extLst>
          </p:cNvPr>
          <p:cNvSpPr txBox="1">
            <a:spLocks/>
          </p:cNvSpPr>
          <p:nvPr/>
        </p:nvSpPr>
        <p:spPr>
          <a:xfrm>
            <a:off x="1844738" y="5257649"/>
            <a:ext cx="928496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300"/>
              </a:spcAft>
              <a:buClr>
                <a:srgbClr val="454545"/>
              </a:buClr>
              <a:tabLst>
                <a:tab pos="1079500" algn="l"/>
              </a:tabLst>
            </a:pPr>
            <a:r>
              <a:rPr lang="en-US" sz="1400">
                <a:solidFill>
                  <a:schemeClr val="bg1"/>
                </a:solidFill>
                <a:cs typeface="Helvetica" panose="020B0604020202020204" pitchFamily="34" charset="0"/>
              </a:rPr>
              <a:t>Phase 6</a:t>
            </a:r>
          </a:p>
        </p:txBody>
      </p:sp>
      <p:cxnSp>
        <p:nvCxnSpPr>
          <p:cNvPr id="30" name="Gerader Verbinder 30">
            <a:extLst>
              <a:ext uri="{FF2B5EF4-FFF2-40B4-BE49-F238E27FC236}">
                <a16:creationId xmlns:a16="http://schemas.microsoft.com/office/drawing/2014/main" id="{84C5B730-403D-3382-60D9-690B54188960}"/>
              </a:ext>
            </a:extLst>
          </p:cNvPr>
          <p:cNvCxnSpPr>
            <a:cxnSpLocks/>
          </p:cNvCxnSpPr>
          <p:nvPr/>
        </p:nvCxnSpPr>
        <p:spPr>
          <a:xfrm>
            <a:off x="4093528" y="2273997"/>
            <a:ext cx="7717472" cy="0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</a:ln>
          <a:effectLst/>
        </p:spPr>
      </p:cxnSp>
      <p:cxnSp>
        <p:nvCxnSpPr>
          <p:cNvPr id="31" name="Gerader Verbinder 31">
            <a:extLst>
              <a:ext uri="{FF2B5EF4-FFF2-40B4-BE49-F238E27FC236}">
                <a16:creationId xmlns:a16="http://schemas.microsoft.com/office/drawing/2014/main" id="{7688D8CD-06CE-0498-A79F-3A0F53CFE8CD}"/>
              </a:ext>
            </a:extLst>
          </p:cNvPr>
          <p:cNvCxnSpPr>
            <a:cxnSpLocks/>
          </p:cNvCxnSpPr>
          <p:nvPr/>
        </p:nvCxnSpPr>
        <p:spPr>
          <a:xfrm>
            <a:off x="3797042" y="2958560"/>
            <a:ext cx="8013958" cy="0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</a:ln>
          <a:effectLst/>
        </p:spPr>
      </p:cxnSp>
      <p:cxnSp>
        <p:nvCxnSpPr>
          <p:cNvPr id="32" name="Gerader Verbinder 32">
            <a:extLst>
              <a:ext uri="{FF2B5EF4-FFF2-40B4-BE49-F238E27FC236}">
                <a16:creationId xmlns:a16="http://schemas.microsoft.com/office/drawing/2014/main" id="{253A8795-0CD4-555A-79F4-E62D7CA935A8}"/>
              </a:ext>
            </a:extLst>
          </p:cNvPr>
          <p:cNvCxnSpPr>
            <a:cxnSpLocks/>
          </p:cNvCxnSpPr>
          <p:nvPr/>
        </p:nvCxnSpPr>
        <p:spPr>
          <a:xfrm>
            <a:off x="3519383" y="3643122"/>
            <a:ext cx="8291617" cy="0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</a:ln>
          <a:effectLst/>
        </p:spPr>
      </p:cxnSp>
      <p:cxnSp>
        <p:nvCxnSpPr>
          <p:cNvPr id="33" name="Gerader Verbinder 33">
            <a:extLst>
              <a:ext uri="{FF2B5EF4-FFF2-40B4-BE49-F238E27FC236}">
                <a16:creationId xmlns:a16="http://schemas.microsoft.com/office/drawing/2014/main" id="{CD8BC072-3F03-70ED-728F-FD80411BBF5D}"/>
              </a:ext>
            </a:extLst>
          </p:cNvPr>
          <p:cNvCxnSpPr>
            <a:cxnSpLocks/>
          </p:cNvCxnSpPr>
          <p:nvPr/>
        </p:nvCxnSpPr>
        <p:spPr>
          <a:xfrm>
            <a:off x="3231565" y="4327685"/>
            <a:ext cx="8579435" cy="0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</a:ln>
          <a:effectLst/>
        </p:spPr>
      </p:cxnSp>
      <p:cxnSp>
        <p:nvCxnSpPr>
          <p:cNvPr id="34" name="Gerader Verbinder 34">
            <a:extLst>
              <a:ext uri="{FF2B5EF4-FFF2-40B4-BE49-F238E27FC236}">
                <a16:creationId xmlns:a16="http://schemas.microsoft.com/office/drawing/2014/main" id="{06CF9193-99BC-F2BE-C623-837435D1F2E0}"/>
              </a:ext>
            </a:extLst>
          </p:cNvPr>
          <p:cNvCxnSpPr>
            <a:cxnSpLocks/>
          </p:cNvCxnSpPr>
          <p:nvPr/>
        </p:nvCxnSpPr>
        <p:spPr>
          <a:xfrm>
            <a:off x="2954209" y="5012247"/>
            <a:ext cx="8856791" cy="0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</a:ln>
          <a:effectLst/>
        </p:spPr>
      </p:cxnSp>
      <p:sp>
        <p:nvSpPr>
          <p:cNvPr id="35" name="Textplatzhalter 30">
            <a:extLst>
              <a:ext uri="{FF2B5EF4-FFF2-40B4-BE49-F238E27FC236}">
                <a16:creationId xmlns:a16="http://schemas.microsoft.com/office/drawing/2014/main" id="{4506B300-8079-305A-917E-79461D4771CB}"/>
              </a:ext>
            </a:extLst>
          </p:cNvPr>
          <p:cNvSpPr txBox="1">
            <a:spLocks/>
          </p:cNvSpPr>
          <p:nvPr/>
        </p:nvSpPr>
        <p:spPr>
          <a:xfrm>
            <a:off x="4625547" y="1649143"/>
            <a:ext cx="2867453" cy="56514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rPr>
              <a:t>Lorem ipsum dolor</a:t>
            </a:r>
          </a:p>
        </p:txBody>
      </p:sp>
      <p:sp>
        <p:nvSpPr>
          <p:cNvPr id="36" name="Textplatzhalter 30">
            <a:extLst>
              <a:ext uri="{FF2B5EF4-FFF2-40B4-BE49-F238E27FC236}">
                <a16:creationId xmlns:a16="http://schemas.microsoft.com/office/drawing/2014/main" id="{C16BE54D-BD6C-26AA-9221-FE098CD2AABB}"/>
              </a:ext>
            </a:extLst>
          </p:cNvPr>
          <p:cNvSpPr txBox="1">
            <a:spLocks/>
          </p:cNvSpPr>
          <p:nvPr/>
        </p:nvSpPr>
        <p:spPr>
          <a:xfrm>
            <a:off x="4625547" y="2333705"/>
            <a:ext cx="2867453" cy="56514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rPr>
              <a:t>Lorem ipsum dolor sit </a:t>
            </a:r>
            <a:r>
              <a:rPr kumimoji="0" lang="en-US" i="0" strike="noStrike" kern="1200" cap="none" spc="0" normalizeH="0" baseline="0" noProof="0" err="1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rPr>
              <a:t>amet</a:t>
            </a:r>
            <a:endParaRPr kumimoji="0" lang="en-US" i="0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37" name="Textplatzhalter 30">
            <a:extLst>
              <a:ext uri="{FF2B5EF4-FFF2-40B4-BE49-F238E27FC236}">
                <a16:creationId xmlns:a16="http://schemas.microsoft.com/office/drawing/2014/main" id="{C375737D-760D-FE38-F778-24D6621E144A}"/>
              </a:ext>
            </a:extLst>
          </p:cNvPr>
          <p:cNvSpPr txBox="1">
            <a:spLocks/>
          </p:cNvSpPr>
          <p:nvPr/>
        </p:nvSpPr>
        <p:spPr>
          <a:xfrm>
            <a:off x="4625547" y="3018268"/>
            <a:ext cx="2867453" cy="56514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rPr>
              <a:t>Lorem ipsum dolor</a:t>
            </a:r>
          </a:p>
        </p:txBody>
      </p:sp>
      <p:sp>
        <p:nvSpPr>
          <p:cNvPr id="38" name="Textplatzhalter 30">
            <a:extLst>
              <a:ext uri="{FF2B5EF4-FFF2-40B4-BE49-F238E27FC236}">
                <a16:creationId xmlns:a16="http://schemas.microsoft.com/office/drawing/2014/main" id="{2E0D27CF-C9CD-09BF-BF98-4A0FD912D60D}"/>
              </a:ext>
            </a:extLst>
          </p:cNvPr>
          <p:cNvSpPr txBox="1">
            <a:spLocks/>
          </p:cNvSpPr>
          <p:nvPr/>
        </p:nvSpPr>
        <p:spPr>
          <a:xfrm>
            <a:off x="4625547" y="3702831"/>
            <a:ext cx="2867453" cy="56514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rPr>
              <a:t>Lorem ipsum</a:t>
            </a:r>
          </a:p>
        </p:txBody>
      </p:sp>
      <p:sp>
        <p:nvSpPr>
          <p:cNvPr id="39" name="Textplatzhalter 30">
            <a:extLst>
              <a:ext uri="{FF2B5EF4-FFF2-40B4-BE49-F238E27FC236}">
                <a16:creationId xmlns:a16="http://schemas.microsoft.com/office/drawing/2014/main" id="{A67ACCD3-5C7F-B9BD-ADFB-26273211FCD0}"/>
              </a:ext>
            </a:extLst>
          </p:cNvPr>
          <p:cNvSpPr txBox="1">
            <a:spLocks/>
          </p:cNvSpPr>
          <p:nvPr/>
        </p:nvSpPr>
        <p:spPr>
          <a:xfrm>
            <a:off x="4625547" y="4387393"/>
            <a:ext cx="2867453" cy="56514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rPr>
              <a:t>Lorem ipsum dolor sit </a:t>
            </a:r>
            <a:r>
              <a:rPr kumimoji="0" lang="en-US" i="0" strike="noStrike" kern="1200" cap="none" spc="0" normalizeH="0" baseline="0" noProof="0" err="1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rPr>
              <a:t>amet</a:t>
            </a:r>
            <a:endParaRPr kumimoji="0" lang="en-US" i="0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40" name="Textplatzhalter 30">
            <a:extLst>
              <a:ext uri="{FF2B5EF4-FFF2-40B4-BE49-F238E27FC236}">
                <a16:creationId xmlns:a16="http://schemas.microsoft.com/office/drawing/2014/main" id="{AAC1FCCC-1227-E59B-D240-3D44A7B8A2DF}"/>
              </a:ext>
            </a:extLst>
          </p:cNvPr>
          <p:cNvSpPr txBox="1">
            <a:spLocks/>
          </p:cNvSpPr>
          <p:nvPr/>
        </p:nvSpPr>
        <p:spPr>
          <a:xfrm>
            <a:off x="4625547" y="5071955"/>
            <a:ext cx="2867453" cy="56514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rPr>
              <a:t>Lorem ipsum dolor sit</a:t>
            </a:r>
          </a:p>
        </p:txBody>
      </p:sp>
      <p:sp>
        <p:nvSpPr>
          <p:cNvPr id="41" name="Inhaltsplatzhalter 2">
            <a:extLst>
              <a:ext uri="{FF2B5EF4-FFF2-40B4-BE49-F238E27FC236}">
                <a16:creationId xmlns:a16="http://schemas.microsoft.com/office/drawing/2014/main" id="{DB7761D1-7350-AF3E-67DB-DCD3AE38D4D0}"/>
              </a:ext>
            </a:extLst>
          </p:cNvPr>
          <p:cNvSpPr txBox="1">
            <a:spLocks/>
          </p:cNvSpPr>
          <p:nvPr/>
        </p:nvSpPr>
        <p:spPr>
          <a:xfrm>
            <a:off x="7899400" y="1716273"/>
            <a:ext cx="390078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 </a:t>
            </a:r>
          </a:p>
          <a:p>
            <a:pPr>
              <a:spcBef>
                <a:spcPts val="0"/>
              </a:spcBef>
            </a:pPr>
            <a:r>
              <a:rPr lang="en-US" sz="1400"/>
              <a:t>Duis </a:t>
            </a:r>
            <a:r>
              <a:rPr lang="en-US" sz="1400" err="1"/>
              <a:t>aute</a:t>
            </a:r>
            <a:r>
              <a:rPr lang="en-US" sz="1400"/>
              <a:t> </a:t>
            </a:r>
            <a:r>
              <a:rPr lang="en-US" sz="1400" err="1"/>
              <a:t>irure</a:t>
            </a:r>
            <a:r>
              <a:rPr lang="en-US" sz="1400"/>
              <a:t> dolor </a:t>
            </a:r>
          </a:p>
        </p:txBody>
      </p:sp>
      <p:sp>
        <p:nvSpPr>
          <p:cNvPr id="42" name="Inhaltsplatzhalter 2">
            <a:extLst>
              <a:ext uri="{FF2B5EF4-FFF2-40B4-BE49-F238E27FC236}">
                <a16:creationId xmlns:a16="http://schemas.microsoft.com/office/drawing/2014/main" id="{A5F27409-0BF1-6E94-EDAF-050A5BF21E45}"/>
              </a:ext>
            </a:extLst>
          </p:cNvPr>
          <p:cNvSpPr txBox="1">
            <a:spLocks/>
          </p:cNvSpPr>
          <p:nvPr/>
        </p:nvSpPr>
        <p:spPr>
          <a:xfrm>
            <a:off x="7899400" y="2400835"/>
            <a:ext cx="390078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 </a:t>
            </a:r>
          </a:p>
          <a:p>
            <a:pPr>
              <a:spcBef>
                <a:spcPts val="0"/>
              </a:spcBef>
            </a:pPr>
            <a:r>
              <a:rPr lang="en-US" sz="1400"/>
              <a:t>Duis </a:t>
            </a:r>
            <a:r>
              <a:rPr lang="en-US" sz="1400" err="1"/>
              <a:t>aute</a:t>
            </a:r>
            <a:r>
              <a:rPr lang="en-US" sz="1400"/>
              <a:t> </a:t>
            </a:r>
            <a:r>
              <a:rPr lang="en-US" sz="1400" err="1"/>
              <a:t>irure</a:t>
            </a:r>
            <a:r>
              <a:rPr lang="en-US" sz="1400"/>
              <a:t> dolor </a:t>
            </a:r>
          </a:p>
        </p:txBody>
      </p:sp>
      <p:sp>
        <p:nvSpPr>
          <p:cNvPr id="43" name="Inhaltsplatzhalter 2">
            <a:extLst>
              <a:ext uri="{FF2B5EF4-FFF2-40B4-BE49-F238E27FC236}">
                <a16:creationId xmlns:a16="http://schemas.microsoft.com/office/drawing/2014/main" id="{338588AA-D861-0C65-0345-66032198CF0B}"/>
              </a:ext>
            </a:extLst>
          </p:cNvPr>
          <p:cNvSpPr txBox="1">
            <a:spLocks/>
          </p:cNvSpPr>
          <p:nvPr/>
        </p:nvSpPr>
        <p:spPr>
          <a:xfrm>
            <a:off x="7899400" y="3085398"/>
            <a:ext cx="390078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 </a:t>
            </a:r>
          </a:p>
          <a:p>
            <a:pPr>
              <a:spcBef>
                <a:spcPts val="0"/>
              </a:spcBef>
            </a:pPr>
            <a:r>
              <a:rPr lang="en-US" sz="1400"/>
              <a:t>Duis </a:t>
            </a:r>
            <a:r>
              <a:rPr lang="en-US" sz="1400" err="1"/>
              <a:t>aute</a:t>
            </a:r>
            <a:r>
              <a:rPr lang="en-US" sz="1400"/>
              <a:t> </a:t>
            </a:r>
            <a:r>
              <a:rPr lang="en-US" sz="1400" err="1"/>
              <a:t>irure</a:t>
            </a:r>
            <a:r>
              <a:rPr lang="en-US" sz="1400"/>
              <a:t> dolor </a:t>
            </a:r>
          </a:p>
        </p:txBody>
      </p:sp>
      <p:sp>
        <p:nvSpPr>
          <p:cNvPr id="45" name="Inhaltsplatzhalter 2">
            <a:extLst>
              <a:ext uri="{FF2B5EF4-FFF2-40B4-BE49-F238E27FC236}">
                <a16:creationId xmlns:a16="http://schemas.microsoft.com/office/drawing/2014/main" id="{C8FA7D91-ABE4-545E-7988-CBFA68E6D39F}"/>
              </a:ext>
            </a:extLst>
          </p:cNvPr>
          <p:cNvSpPr txBox="1">
            <a:spLocks/>
          </p:cNvSpPr>
          <p:nvPr/>
        </p:nvSpPr>
        <p:spPr>
          <a:xfrm>
            <a:off x="7899400" y="3769960"/>
            <a:ext cx="390078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 </a:t>
            </a:r>
          </a:p>
          <a:p>
            <a:pPr>
              <a:spcBef>
                <a:spcPts val="0"/>
              </a:spcBef>
            </a:pPr>
            <a:r>
              <a:rPr lang="en-US" sz="1400"/>
              <a:t>Duis </a:t>
            </a:r>
            <a:r>
              <a:rPr lang="en-US" sz="1400" err="1"/>
              <a:t>aute</a:t>
            </a:r>
            <a:r>
              <a:rPr lang="en-US" sz="1400"/>
              <a:t> </a:t>
            </a:r>
            <a:r>
              <a:rPr lang="en-US" sz="1400" err="1"/>
              <a:t>irure</a:t>
            </a:r>
            <a:r>
              <a:rPr lang="en-US" sz="1400"/>
              <a:t> dolor </a:t>
            </a:r>
          </a:p>
        </p:txBody>
      </p:sp>
      <p:sp>
        <p:nvSpPr>
          <p:cNvPr id="46" name="Inhaltsplatzhalter 2">
            <a:extLst>
              <a:ext uri="{FF2B5EF4-FFF2-40B4-BE49-F238E27FC236}">
                <a16:creationId xmlns:a16="http://schemas.microsoft.com/office/drawing/2014/main" id="{84DE3FC9-E1C6-36CB-4976-DAAFAD729D52}"/>
              </a:ext>
            </a:extLst>
          </p:cNvPr>
          <p:cNvSpPr txBox="1">
            <a:spLocks/>
          </p:cNvSpPr>
          <p:nvPr/>
        </p:nvSpPr>
        <p:spPr>
          <a:xfrm>
            <a:off x="7899400" y="4454523"/>
            <a:ext cx="390078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 </a:t>
            </a:r>
          </a:p>
          <a:p>
            <a:pPr>
              <a:spcBef>
                <a:spcPts val="0"/>
              </a:spcBef>
            </a:pPr>
            <a:r>
              <a:rPr lang="en-US" sz="1400"/>
              <a:t>Duis </a:t>
            </a:r>
            <a:r>
              <a:rPr lang="en-US" sz="1400" err="1"/>
              <a:t>aute</a:t>
            </a:r>
            <a:r>
              <a:rPr lang="en-US" sz="1400"/>
              <a:t> </a:t>
            </a:r>
            <a:r>
              <a:rPr lang="en-US" sz="1400" err="1"/>
              <a:t>irure</a:t>
            </a:r>
            <a:r>
              <a:rPr lang="en-US" sz="1400"/>
              <a:t> dolor </a:t>
            </a:r>
          </a:p>
        </p:txBody>
      </p:sp>
      <p:sp>
        <p:nvSpPr>
          <p:cNvPr id="47" name="Inhaltsplatzhalter 2">
            <a:extLst>
              <a:ext uri="{FF2B5EF4-FFF2-40B4-BE49-F238E27FC236}">
                <a16:creationId xmlns:a16="http://schemas.microsoft.com/office/drawing/2014/main" id="{CE60B6C6-B135-051A-322A-B0758A4357E2}"/>
              </a:ext>
            </a:extLst>
          </p:cNvPr>
          <p:cNvSpPr txBox="1">
            <a:spLocks/>
          </p:cNvSpPr>
          <p:nvPr/>
        </p:nvSpPr>
        <p:spPr>
          <a:xfrm>
            <a:off x="7899400" y="5139085"/>
            <a:ext cx="390078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 </a:t>
            </a:r>
          </a:p>
          <a:p>
            <a:pPr>
              <a:spcBef>
                <a:spcPts val="0"/>
              </a:spcBef>
            </a:pPr>
            <a:r>
              <a:rPr lang="en-US" sz="1400"/>
              <a:t>Duis </a:t>
            </a:r>
            <a:r>
              <a:rPr lang="en-US" sz="1400" err="1"/>
              <a:t>aute</a:t>
            </a:r>
            <a:r>
              <a:rPr lang="en-US" sz="1400"/>
              <a:t> </a:t>
            </a:r>
            <a:r>
              <a:rPr lang="en-US" sz="1400" err="1"/>
              <a:t>irure</a:t>
            </a:r>
            <a:r>
              <a:rPr lang="en-US" sz="1400"/>
              <a:t> dolor </a:t>
            </a:r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2A1818A6-90F3-9BA5-85C4-1086F0A1B20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52285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funnels, phases</a:t>
            </a:r>
          </a:p>
        </p:txBody>
      </p:sp>
    </p:spTree>
    <p:extLst>
      <p:ext uri="{BB962C8B-B14F-4D97-AF65-F5344CB8AC3E}">
        <p14:creationId xmlns:p14="http://schemas.microsoft.com/office/powerpoint/2010/main" val="13866274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